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1294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C7DEE7-4E16-0423-7DF2-811486B1E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ear-on-Year Growth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180E70F-F495-763B-7D2E-FDCABC899BD2}"/>
              </a:ext>
            </a:extLst>
          </p:cNvPr>
          <p:cNvGrpSpPr/>
          <p:nvPr/>
        </p:nvGrpSpPr>
        <p:grpSpPr>
          <a:xfrm>
            <a:off x="997893" y="2482328"/>
            <a:ext cx="16292214" cy="6140233"/>
            <a:chOff x="1051224" y="2795313"/>
            <a:chExt cx="16292214" cy="614023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BAC7EA53-8DAE-4FD1-FF8C-7344C489D697}"/>
                </a:ext>
              </a:extLst>
            </p:cNvPr>
            <p:cNvGrpSpPr/>
            <p:nvPr/>
          </p:nvGrpSpPr>
          <p:grpSpPr>
            <a:xfrm>
              <a:off x="9747496" y="3035040"/>
              <a:ext cx="2555678" cy="2555678"/>
              <a:chOff x="9747496" y="3035040"/>
              <a:chExt cx="2555678" cy="2555678"/>
            </a:xfrm>
          </p:grpSpPr>
          <p:sp>
            <p:nvSpPr>
              <p:cNvPr id="9" name="Freeform 10">
                <a:extLst>
                  <a:ext uri="{FF2B5EF4-FFF2-40B4-BE49-F238E27FC236}">
                    <a16:creationId xmlns:a16="http://schemas.microsoft.com/office/drawing/2014/main" id="{FFD0AAF1-9FC6-1739-ADEB-667AC75CFEAB}"/>
                  </a:ext>
                </a:extLst>
              </p:cNvPr>
              <p:cNvSpPr/>
              <p:nvPr/>
            </p:nvSpPr>
            <p:spPr>
              <a:xfrm>
                <a:off x="9747496" y="3035040"/>
                <a:ext cx="2555678" cy="2555678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chemeClr val="accent3"/>
              </a:solidFill>
            </p:spPr>
            <p:txBody>
              <a:bodyPr/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" name="TextBox 25">
                <a:extLst>
                  <a:ext uri="{FF2B5EF4-FFF2-40B4-BE49-F238E27FC236}">
                    <a16:creationId xmlns:a16="http://schemas.microsoft.com/office/drawing/2014/main" id="{9C2B0F9B-8445-2285-0B3B-918499A00A0B}"/>
                  </a:ext>
                </a:extLst>
              </p:cNvPr>
              <p:cNvSpPr txBox="1"/>
              <p:nvPr/>
            </p:nvSpPr>
            <p:spPr>
              <a:xfrm>
                <a:off x="10314004" y="3941752"/>
                <a:ext cx="1422662" cy="742254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6187"/>
                  </a:lnSpc>
                </a:pPr>
                <a:r>
                  <a:rPr lang="en-US" sz="5000" b="1" dirty="0">
                    <a:latin typeface="Arial" panose="020B0604020202020204" pitchFamily="34" charset="0"/>
                    <a:ea typeface="Droid Serif Bold"/>
                    <a:cs typeface="Arial" panose="020B0604020202020204" pitchFamily="34" charset="0"/>
                    <a:sym typeface="Droid Serif Bold"/>
                  </a:rPr>
                  <a:t>XX%</a:t>
                </a:r>
              </a:p>
            </p:txBody>
          </p:sp>
        </p:grp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39FE9EFD-C563-BF34-5425-9FD5A3B688EC}"/>
                </a:ext>
              </a:extLst>
            </p:cNvPr>
            <p:cNvCxnSpPr>
              <a:cxnSpLocks/>
            </p:cNvCxnSpPr>
            <p:nvPr/>
          </p:nvCxnSpPr>
          <p:spPr>
            <a:xfrm>
              <a:off x="12303174" y="4312879"/>
              <a:ext cx="1512000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Freeform 16">
              <a:extLst>
                <a:ext uri="{FF2B5EF4-FFF2-40B4-BE49-F238E27FC236}">
                  <a16:creationId xmlns:a16="http://schemas.microsoft.com/office/drawing/2014/main" id="{0283E58D-E097-5DB5-D950-5AA3E7A2BF1D}"/>
                </a:ext>
              </a:extLst>
            </p:cNvPr>
            <p:cNvSpPr/>
            <p:nvPr/>
          </p:nvSpPr>
          <p:spPr>
            <a:xfrm>
              <a:off x="5984826" y="2795313"/>
              <a:ext cx="3402143" cy="3402143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/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TextBox 25">
              <a:extLst>
                <a:ext uri="{FF2B5EF4-FFF2-40B4-BE49-F238E27FC236}">
                  <a16:creationId xmlns:a16="http://schemas.microsoft.com/office/drawing/2014/main" id="{41196AAF-960E-50EC-6C54-64FD4BC455AE}"/>
                </a:ext>
              </a:extLst>
            </p:cNvPr>
            <p:cNvSpPr txBox="1"/>
            <p:nvPr/>
          </p:nvSpPr>
          <p:spPr>
            <a:xfrm>
              <a:off x="6974566" y="4125257"/>
              <a:ext cx="1422662" cy="74225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6187"/>
                </a:lnSpc>
              </a:pPr>
              <a:r>
                <a:rPr lang="en-US" sz="5000" b="1" dirty="0">
                  <a:solidFill>
                    <a:schemeClr val="bg1"/>
                  </a:solidFill>
                  <a:latin typeface="Arial" panose="020B0604020202020204" pitchFamily="34" charset="0"/>
                  <a:ea typeface="Droid Serif Bold"/>
                  <a:cs typeface="Arial" panose="020B0604020202020204" pitchFamily="34" charset="0"/>
                  <a:sym typeface="Droid Serif Bold"/>
                </a:rPr>
                <a:t>XX%</a:t>
              </a: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43BD7076-64B6-8817-43D1-F6E7175FC61D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0" y="4496384"/>
              <a:ext cx="1412826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D0CCEF9E-C08D-E455-D0DE-E1BF68FAC7BA}"/>
                </a:ext>
              </a:extLst>
            </p:cNvPr>
            <p:cNvGrpSpPr/>
            <p:nvPr/>
          </p:nvGrpSpPr>
          <p:grpSpPr>
            <a:xfrm>
              <a:off x="8283211" y="6018570"/>
              <a:ext cx="2916976" cy="2916976"/>
              <a:chOff x="8283211" y="6018570"/>
              <a:chExt cx="2916976" cy="2916976"/>
            </a:xfrm>
          </p:grpSpPr>
          <p:sp>
            <p:nvSpPr>
              <p:cNvPr id="12" name="Freeform 13">
                <a:extLst>
                  <a:ext uri="{FF2B5EF4-FFF2-40B4-BE49-F238E27FC236}">
                    <a16:creationId xmlns:a16="http://schemas.microsoft.com/office/drawing/2014/main" id="{1852BC72-5E84-43FF-D376-2E1118AF9449}"/>
                  </a:ext>
                </a:extLst>
              </p:cNvPr>
              <p:cNvSpPr/>
              <p:nvPr/>
            </p:nvSpPr>
            <p:spPr>
              <a:xfrm>
                <a:off x="8283211" y="6018570"/>
                <a:ext cx="2916976" cy="2916976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chemeClr val="accent2"/>
              </a:solidFill>
            </p:spPr>
            <p:txBody>
              <a:bodyPr/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" name="TextBox 25">
                <a:extLst>
                  <a:ext uri="{FF2B5EF4-FFF2-40B4-BE49-F238E27FC236}">
                    <a16:creationId xmlns:a16="http://schemas.microsoft.com/office/drawing/2014/main" id="{6DD7E3D4-CFE8-2110-A7BA-4D88B8BBC5C8}"/>
                  </a:ext>
                </a:extLst>
              </p:cNvPr>
              <p:cNvSpPr txBox="1"/>
              <p:nvPr/>
            </p:nvSpPr>
            <p:spPr>
              <a:xfrm>
                <a:off x="9030368" y="7105931"/>
                <a:ext cx="1422662" cy="742254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6187"/>
                  </a:lnSpc>
                </a:pPr>
                <a:r>
                  <a:rPr lang="en-US" sz="50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Droid Serif Bold"/>
                    <a:cs typeface="Arial" panose="020B0604020202020204" pitchFamily="34" charset="0"/>
                    <a:sym typeface="Droid Serif Bold"/>
                  </a:rPr>
                  <a:t>XX%</a:t>
                </a:r>
              </a:p>
            </p:txBody>
          </p:sp>
        </p:grp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1DD0822-A11E-7157-71D1-40E355B5ED01}"/>
                </a:ext>
              </a:extLst>
            </p:cNvPr>
            <p:cNvCxnSpPr>
              <a:cxnSpLocks/>
            </p:cNvCxnSpPr>
            <p:nvPr/>
          </p:nvCxnSpPr>
          <p:spPr>
            <a:xfrm>
              <a:off x="11200187" y="7477058"/>
              <a:ext cx="1946226" cy="0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12">
              <a:extLst>
                <a:ext uri="{FF2B5EF4-FFF2-40B4-BE49-F238E27FC236}">
                  <a16:creationId xmlns:a16="http://schemas.microsoft.com/office/drawing/2014/main" id="{9F4781E1-9AE6-5639-8803-02856004B9F7}"/>
                </a:ext>
              </a:extLst>
            </p:cNvPr>
            <p:cNvSpPr txBox="1"/>
            <p:nvPr/>
          </p:nvSpPr>
          <p:spPr>
            <a:xfrm>
              <a:off x="1051224" y="3272972"/>
              <a:ext cx="3292175" cy="2108269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2200" b="1" dirty="0">
                  <a:solidFill>
                    <a:schemeClr val="accent1"/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Heading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2200" dirty="0"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Lorem ipsum dolor sit amet, consectetur adipiscing elit, sed do eiusmod tempor incididunt ut labore et dolore </a:t>
              </a:r>
            </a:p>
          </p:txBody>
        </p:sp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9447554-CE9D-468E-BE17-B6083CB30885}"/>
                </a:ext>
              </a:extLst>
            </p:cNvPr>
            <p:cNvSpPr txBox="1"/>
            <p:nvPr/>
          </p:nvSpPr>
          <p:spPr>
            <a:xfrm>
              <a:off x="14051263" y="3035040"/>
              <a:ext cx="3292175" cy="2108269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2200" b="1" dirty="0">
                  <a:solidFill>
                    <a:schemeClr val="accent1"/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Heading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2200" dirty="0"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Lorem ipsum dolor sit amet, consectetur adipiscing elit, sed do eiusmod tempor incididunt ut labore et dolore 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852CEFE7-9534-C604-150F-429DE4DA4380}"/>
                </a:ext>
              </a:extLst>
            </p:cNvPr>
            <p:cNvSpPr txBox="1"/>
            <p:nvPr/>
          </p:nvSpPr>
          <p:spPr>
            <a:xfrm>
              <a:off x="13498572" y="6404678"/>
              <a:ext cx="3844866" cy="1769715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2200" b="1" dirty="0">
                  <a:solidFill>
                    <a:schemeClr val="accent1"/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Heading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2200" dirty="0"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Lorem ipsum dolor sit amet, consectetur adipiscing elit, sed do eiusmod tempor incididunt ut labore et dolore </a:t>
              </a:r>
            </a:p>
          </p:txBody>
        </p:sp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CF72E3-9889-6D4C-70E8-177E205F7A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66538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42</TotalTime>
  <Words>69</Words>
  <Application>Microsoft Office PowerPoint</Application>
  <PresentationFormat>Custom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Year-on-Year Growth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53</cp:revision>
  <dcterms:created xsi:type="dcterms:W3CDTF">2006-08-16T00:00:00Z</dcterms:created>
  <dcterms:modified xsi:type="dcterms:W3CDTF">2025-10-06T09:47:38Z</dcterms:modified>
  <cp:category/>
  <dc:identifier>DAGkDf5R9EM</dc:identifier>
</cp:coreProperties>
</file>